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2"/>
  </p:sldMasterIdLst>
  <p:notesMasterIdLst>
    <p:notesMasterId r:id="rId13"/>
  </p:notesMasterIdLst>
  <p:handoutMasterIdLst>
    <p:handoutMasterId r:id="rId14"/>
  </p:handoutMasterIdLst>
  <p:sldIdLst>
    <p:sldId id="277" r:id="rId3"/>
    <p:sldId id="272" r:id="rId4"/>
    <p:sldId id="278" r:id="rId5"/>
    <p:sldId id="279" r:id="rId6"/>
    <p:sldId id="280" r:id="rId7"/>
    <p:sldId id="281" r:id="rId8"/>
    <p:sldId id="282" r:id="rId9"/>
    <p:sldId id="283" r:id="rId10"/>
    <p:sldId id="285" r:id="rId11"/>
    <p:sldId id="284" r:id="rId12"/>
  </p:sldIdLst>
  <p:sldSz cx="12192000" cy="6858000"/>
  <p:notesSz cx="6858000" cy="9144000"/>
  <p:embeddedFontLst>
    <p:embeddedFont>
      <p:font typeface="Cambria" panose="02040503050406030204" pitchFamily="18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299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" Type="http://schemas.openxmlformats.org/officeDocument/2006/relationships/slideMaster" Target="slideMasters/slideMaster1.xml"/><Relationship Id="rId16" Type="http://schemas.openxmlformats.org/officeDocument/2006/relationships/font" Target="fonts/font2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D71D7-55AC-46BD-81B3-09AB2F9EFBD8}" type="datetimeFigureOut">
              <a:rPr lang="en-US" smtClean="0"/>
              <a:t>11/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40BD58-3BFF-4EAF-BB8B-AC67FE801E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43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89424F-BB59-4F4E-9822-4CA3E770FFD2}" type="datetimeFigureOut">
              <a:rPr lang="en-US" smtClean="0"/>
              <a:t>11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322CDD-9D6C-4F63-9EC2-648226624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026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2606040"/>
            <a:ext cx="10058400" cy="274320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800">
                <a:solidFill>
                  <a:schemeClr val="tx1"/>
                </a:solidFill>
                <a:effectLst>
                  <a:outerShdw blurRad="38100" dist="25400" dir="18900000" algn="bl" rotWithShape="0">
                    <a:schemeClr val="bg1">
                      <a:alpha val="80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5360437"/>
            <a:ext cx="10058400" cy="36576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 cap="all" baseline="0">
                <a:solidFill>
                  <a:schemeClr val="accent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5888736"/>
            <a:ext cx="12192000" cy="109728"/>
          </a:xfrm>
          <a:prstGeom prst="rect">
            <a:avLst/>
          </a:prstGeom>
          <a:ln>
            <a:noFill/>
          </a:ln>
          <a:effectLst>
            <a:outerShdw blurRad="25400" dist="254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5888736"/>
            <a:ext cx="12192000" cy="109728"/>
          </a:xfrm>
          <a:prstGeom prst="rect">
            <a:avLst/>
          </a:prstGeom>
          <a:ln>
            <a:noFill/>
          </a:ln>
          <a:effectLst>
            <a:innerShdw blurRad="25400" dist="12700" dir="16200000">
              <a:schemeClr val="accent1">
                <a:lumMod val="50000"/>
                <a:alpha val="5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86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15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25000" y="382230"/>
            <a:ext cx="1371600" cy="55613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400" y="382230"/>
            <a:ext cx="7863840" cy="556137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63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44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7753739" y="283"/>
            <a:ext cx="4435717" cy="68562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1565829"/>
            <a:ext cx="5943600" cy="4114800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5400">
                <a:effectLst>
                  <a:outerShdw blurRad="38100" dist="25400" dir="18900000" algn="bl" rotWithShape="0">
                    <a:schemeClr val="bg1">
                      <a:alpha val="80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1" y="5682343"/>
            <a:ext cx="5943600" cy="41054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200" b="1" cap="all" baseline="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outerShdw blurRad="25400" dist="254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innerShdw blurRad="25400" dist="127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77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5400" y="1825625"/>
            <a:ext cx="4724400" cy="41179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4724400" cy="41179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56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1828800"/>
            <a:ext cx="4727448" cy="6413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2470151"/>
            <a:ext cx="4727448" cy="34734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7628" y="1828800"/>
            <a:ext cx="4727448" cy="6413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9152" y="2470151"/>
            <a:ext cx="4727448" cy="34734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90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97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81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7753739" y="283"/>
            <a:ext cx="4435717" cy="685628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outerShdw blurRad="25400" dist="254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innerShdw blurRad="25400" dist="127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1" y="2514600"/>
            <a:ext cx="347472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0302" y="685800"/>
            <a:ext cx="6126480" cy="5486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0" y="4343400"/>
            <a:ext cx="3474720" cy="1188720"/>
          </a:xfrm>
        </p:spPr>
        <p:txBody>
          <a:bodyPr>
            <a:normAutofit/>
          </a:bodyPr>
          <a:lstStyle>
            <a:lvl1pPr marL="0" indent="0">
              <a:spcBef>
                <a:spcPts val="8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37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hidden">
          <a:xfrm>
            <a:off x="7753739" y="283"/>
            <a:ext cx="4435717" cy="685628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outerShdw blurRad="25400" dist="254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7707084" y="0"/>
            <a:ext cx="54864" cy="6858000"/>
          </a:xfrm>
          <a:prstGeom prst="rect">
            <a:avLst/>
          </a:prstGeom>
          <a:ln>
            <a:noFill/>
          </a:ln>
          <a:effectLst>
            <a:innerShdw blurRad="25400" dist="127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0" y="2514600"/>
            <a:ext cx="347472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25880"/>
            <a:ext cx="6858000" cy="4206240"/>
          </a:xfrm>
          <a:solidFill>
            <a:schemeClr val="bg2"/>
          </a:solidFill>
          <a:effectLst>
            <a:outerShdw blurRad="63500" sx="101000" sy="101000" algn="ctr" rotWithShape="0">
              <a:prstClr val="black">
                <a:alpha val="15000"/>
              </a:prst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0" y="4343400"/>
            <a:ext cx="3474720" cy="1188720"/>
          </a:xfrm>
        </p:spPr>
        <p:txBody>
          <a:bodyPr>
            <a:normAutofit/>
          </a:bodyPr>
          <a:lstStyle>
            <a:lvl1pPr marL="0" indent="0">
              <a:spcBef>
                <a:spcPts val="8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24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00038AB-79E6-4697-AF42-5EAB29076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911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D70B2E6-724E-495D-9D34-04B04ADDA3B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257036"/>
            <a:ext cx="12192000" cy="54864"/>
          </a:xfrm>
          <a:prstGeom prst="rect">
            <a:avLst/>
          </a:prstGeom>
          <a:ln>
            <a:noFill/>
          </a:ln>
          <a:effectLst>
            <a:outerShdw blurRad="25400" dist="25400" dir="5400000" algn="t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0" y="381000"/>
            <a:ext cx="96012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1828800"/>
            <a:ext cx="9601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6170" y="6419462"/>
            <a:ext cx="1351383" cy="238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400" y="6419462"/>
            <a:ext cx="5181600" cy="238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98358" y="6419462"/>
            <a:ext cx="698241" cy="238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31375A4-56A4-47D6-9801-1991572033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6257036"/>
            <a:ext cx="12192000" cy="54864"/>
          </a:xfrm>
          <a:prstGeom prst="rect">
            <a:avLst/>
          </a:prstGeom>
          <a:ln>
            <a:noFill/>
          </a:ln>
          <a:effectLst>
            <a:innerShdw blurRad="25400" dist="12700" dir="16200000">
              <a:schemeClr val="accent1">
                <a:lumMod val="50000"/>
                <a:alpha val="5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25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accent1"/>
          </a:solidFill>
          <a:effectLst>
            <a:outerShdw blurRad="38100" dist="25400" dir="18900000" algn="bl" rotWithShape="0">
              <a:schemeClr val="bg1">
                <a:alpha val="80000"/>
              </a:schemeClr>
            </a:outerShdw>
          </a:effectLst>
          <a:latin typeface="+mj-lt"/>
          <a:ea typeface="+mj-ea"/>
          <a:cs typeface="+mj-cs"/>
        </a:defRPr>
      </a:lvl1pPr>
    </p:titleStyle>
    <p:bodyStyle>
      <a:lvl1pPr marL="27432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6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744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5176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10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29B62-9168-40CA-9931-90BB177667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22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3DD275-B4FE-49DD-A3C3-E900A2D125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6992" y="276078"/>
            <a:ext cx="10058400" cy="2743200"/>
          </a:xfrm>
        </p:spPr>
        <p:txBody>
          <a:bodyPr>
            <a:normAutofit/>
          </a:bodyPr>
          <a:lstStyle/>
          <a:p>
            <a:r>
              <a:rPr lang="en-US" sz="2400" dirty="0">
                <a:effectLst/>
              </a:rPr>
              <a:t>Distributed  COORDINATION STRATEGY FOR TARGET ENCLOSURE BY </a:t>
            </a:r>
            <a:r>
              <a:rPr lang="en-US" sz="2400" dirty="0" err="1">
                <a:effectLst/>
              </a:rPr>
              <a:t>Turtlebots</a:t>
            </a:r>
            <a:endParaRPr lang="en-US" sz="2400" dirty="0">
              <a:effectLst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917331" y="4637269"/>
            <a:ext cx="10058400" cy="365760"/>
          </a:xfrm>
        </p:spPr>
        <p:txBody>
          <a:bodyPr>
            <a:noAutofit/>
          </a:bodyPr>
          <a:lstStyle/>
          <a:p>
            <a:r>
              <a:rPr lang="en-IN" sz="1800" dirty="0"/>
              <a:t>Rohit Sonker</a:t>
            </a:r>
          </a:p>
          <a:p>
            <a:r>
              <a:rPr lang="en-IN" sz="1800" dirty="0"/>
              <a:t>Summer Project (Under Supervision of </a:t>
            </a:r>
            <a:r>
              <a:rPr lang="en-IN" sz="1800" dirty="0" err="1"/>
              <a:t>Prof.</a:t>
            </a:r>
            <a:r>
              <a:rPr lang="en-IN" sz="1800" dirty="0"/>
              <a:t> </a:t>
            </a:r>
            <a:r>
              <a:rPr lang="en-IN" sz="1800" dirty="0" err="1"/>
              <a:t>laxmidhar</a:t>
            </a:r>
            <a:r>
              <a:rPr lang="en-IN" sz="1800" dirty="0"/>
              <a:t> </a:t>
            </a:r>
            <a:r>
              <a:rPr lang="en-IN" sz="1800" dirty="0" err="1"/>
              <a:t>Behera</a:t>
            </a:r>
            <a:r>
              <a:rPr lang="en-IN" sz="1800" dirty="0"/>
              <a:t>)</a:t>
            </a:r>
          </a:p>
          <a:p>
            <a:r>
              <a:rPr lang="en-IN" sz="1800"/>
              <a:t>Intelligent Systems &amp; Control </a:t>
            </a:r>
            <a:r>
              <a:rPr lang="en-IN" sz="1800" dirty="0"/>
              <a:t>Lab, IIT Kanpur</a:t>
            </a:r>
          </a:p>
          <a:p>
            <a:r>
              <a:rPr lang="en-IN" sz="1800" dirty="0"/>
              <a:t>July 2016</a:t>
            </a:r>
          </a:p>
        </p:txBody>
      </p:sp>
    </p:spTree>
    <p:extLst>
      <p:ext uri="{BB962C8B-B14F-4D97-AF65-F5344CB8AC3E}">
        <p14:creationId xmlns:p14="http://schemas.microsoft.com/office/powerpoint/2010/main" val="35322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4E47FD-B582-498C-B5F3-99183BBCD2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07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508CF49-391E-4F5D-8C59-F602004F5B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Wo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1985" y="1742883"/>
            <a:ext cx="1032216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To use raw sensor observations to estimate position and velocity of </a:t>
            </a:r>
            <a:r>
              <a:rPr lang="en-IN" sz="2400" dirty="0" err="1"/>
              <a:t>turtlebots</a:t>
            </a:r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Expand to aerial drones with more degrees of freedom of motion</a:t>
            </a:r>
          </a:p>
          <a:p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Expand to other scenarios of formation control</a:t>
            </a:r>
          </a:p>
          <a:p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5009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55077" y="1890346"/>
            <a:ext cx="1046284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Here a methodology for group coordination and cooperative control of n agents to achieve</a:t>
            </a:r>
          </a:p>
          <a:p>
            <a:r>
              <a:rPr lang="en-IN" dirty="0"/>
              <a:t>      a target-enclosing operation is presented.</a:t>
            </a:r>
          </a:p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In the developed coordination strategy, multiple agents are controlled in a distributed manner to converge to an assigned formation while tracking the target object moving in spa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r>
              <a:rPr lang="en-IN" dirty="0"/>
              <a:t>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8C05B1F-EA44-4BB4-935A-F4A4BD530A0E}"/>
              </a:ext>
            </a:extLst>
          </p:cNvPr>
          <p:cNvSpPr txBox="1">
            <a:spLocks/>
          </p:cNvSpPr>
          <p:nvPr/>
        </p:nvSpPr>
        <p:spPr>
          <a:xfrm>
            <a:off x="1238250" y="3009900"/>
            <a:ext cx="96012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accent1"/>
                </a:solidFill>
                <a:effectLst>
                  <a:outerShdw blurRad="38100" dist="25400" dir="18900000" algn="bl" rotWithShape="0">
                    <a:schemeClr val="bg1">
                      <a:alpha val="8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3175B1-B280-4567-BFA8-3F112D21A198}"/>
              </a:ext>
            </a:extLst>
          </p:cNvPr>
          <p:cNvSpPr txBox="1"/>
          <p:nvPr/>
        </p:nvSpPr>
        <p:spPr>
          <a:xfrm>
            <a:off x="541460" y="4312627"/>
            <a:ext cx="1032216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Memory-less control scheme.</a:t>
            </a:r>
          </a:p>
          <a:p>
            <a:pPr lvl="1"/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No communications between agents is necessar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Each agent decides its behaviour based on local information of only one other agent and the target object 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467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1985" y="1855177"/>
            <a:ext cx="1032216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Consider n agents dispersed in space. Each agent is modelled as a point object and all agents are ordered from 1to n i.e.  P1, P2 ….. P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Position vectors of target and agents are denoted by p</a:t>
            </a:r>
            <a:r>
              <a:rPr lang="en-IN" baseline="-25000" dirty="0"/>
              <a:t>0,</a:t>
            </a:r>
            <a:r>
              <a:rPr lang="en-IN" dirty="0"/>
              <a:t> p</a:t>
            </a:r>
            <a:r>
              <a:rPr lang="en-IN" baseline="-25000" dirty="0"/>
              <a:t>1,</a:t>
            </a:r>
            <a:r>
              <a:rPr lang="en-IN" dirty="0"/>
              <a:t> p</a:t>
            </a:r>
            <a:r>
              <a:rPr lang="en-IN" baseline="-25000" dirty="0"/>
              <a:t>2,…,</a:t>
            </a:r>
            <a:r>
              <a:rPr lang="en-IN" dirty="0"/>
              <a:t> p</a:t>
            </a:r>
            <a:r>
              <a:rPr lang="en-IN" baseline="-25000" dirty="0"/>
              <a:t>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It is assumed that each agent Pi can measure following vectors 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endParaRPr lang="en-IN" dirty="0"/>
          </a:p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Further information regarding the velocity of the target is required.</a:t>
            </a:r>
          </a:p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here are two frame of referenc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Inertial Fra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Target fixed Frame centred at the target with X,Y,Z axes parallel to the inertial frame of reference.</a:t>
            </a:r>
          </a:p>
          <a:p>
            <a:endParaRPr lang="en-IN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318" y="3683305"/>
            <a:ext cx="4781282" cy="81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36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45CE87-4880-400D-B7F0-A0E9AB13AD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5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CA38BE-2725-477E-B440-B8F996B800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Cambria" panose="02040503050406030204" pitchFamily="18" charset="0"/>
              <a:ea typeface="+mj-ea"/>
              <a:cs typeface="+mj-cs"/>
              <a:sym typeface="Cambria" panose="0204050305040603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425" y="161925"/>
            <a:ext cx="9601200" cy="1143000"/>
          </a:xfrm>
        </p:spPr>
        <p:txBody>
          <a:bodyPr/>
          <a:lstStyle/>
          <a:p>
            <a:r>
              <a:rPr lang="en-US" dirty="0"/>
              <a:t>COORDINATE FRAMES AND NOTA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065"/>
          <a:stretch/>
        </p:blipFill>
        <p:spPr>
          <a:xfrm>
            <a:off x="838200" y="1666876"/>
            <a:ext cx="10058400" cy="36671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95813E-ADB4-42F2-B8D9-443C485EC507}"/>
              </a:ext>
            </a:extLst>
          </p:cNvPr>
          <p:cNvSpPr txBox="1"/>
          <p:nvPr/>
        </p:nvSpPr>
        <p:spPr>
          <a:xfrm>
            <a:off x="876300" y="5619750"/>
            <a:ext cx="9963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im, T., T. </a:t>
            </a:r>
            <a:r>
              <a:rPr lang="en-US" dirty="0" err="1"/>
              <a:t>Sugie</a:t>
            </a:r>
            <a:r>
              <a:rPr lang="en-US" dirty="0"/>
              <a:t>, and T. </a:t>
            </a:r>
            <a:r>
              <a:rPr lang="en-US" dirty="0" err="1"/>
              <a:t>Korogi</a:t>
            </a:r>
            <a:r>
              <a:rPr lang="en-US" dirty="0"/>
              <a:t>. "Distributed coordination strategy for target-enclosing operations by particle swarms." WSEAS Trans. Syst. Control 10 (2015): 289-296.</a:t>
            </a:r>
          </a:p>
        </p:txBody>
      </p:sp>
    </p:spTree>
    <p:extLst>
      <p:ext uri="{BB962C8B-B14F-4D97-AF65-F5344CB8AC3E}">
        <p14:creationId xmlns:p14="http://schemas.microsoft.com/office/powerpoint/2010/main" val="180407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1985" y="1742883"/>
            <a:ext cx="103221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/>
              <a:t>The Control objectives are as follows :</a:t>
            </a:r>
          </a:p>
          <a:p>
            <a:endParaRPr lang="en-I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/>
              <a:t>N agents enclose the target , they are spaced out around the target object of assigned angles and maintain those angles.</a:t>
            </a:r>
          </a:p>
          <a:p>
            <a:endParaRPr lang="en-I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/>
              <a:t>Each agent approaches the target object , maintaining a distance R.</a:t>
            </a:r>
          </a:p>
        </p:txBody>
      </p:sp>
    </p:spTree>
    <p:extLst>
      <p:ext uri="{BB962C8B-B14F-4D97-AF65-F5344CB8AC3E}">
        <p14:creationId xmlns:p14="http://schemas.microsoft.com/office/powerpoint/2010/main" val="303426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5997" y="-244642"/>
            <a:ext cx="9601200" cy="1143000"/>
          </a:xfrm>
        </p:spPr>
        <p:txBody>
          <a:bodyPr/>
          <a:lstStyle/>
          <a:p>
            <a:r>
              <a:rPr lang="en-US" dirty="0"/>
              <a:t>Control law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92" y="948240"/>
            <a:ext cx="5767168" cy="44930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80F4E4-21F0-4015-ABCF-5D04CC4B8657}"/>
              </a:ext>
            </a:extLst>
          </p:cNvPr>
          <p:cNvSpPr txBox="1"/>
          <p:nvPr/>
        </p:nvSpPr>
        <p:spPr>
          <a:xfrm>
            <a:off x="1057275" y="5619750"/>
            <a:ext cx="9963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im, T., T. </a:t>
            </a:r>
            <a:r>
              <a:rPr lang="en-US" dirty="0" err="1"/>
              <a:t>Sugie</a:t>
            </a:r>
            <a:r>
              <a:rPr lang="en-US" dirty="0"/>
              <a:t>, and T. </a:t>
            </a:r>
            <a:r>
              <a:rPr lang="en-US" dirty="0" err="1"/>
              <a:t>Korogi</a:t>
            </a:r>
            <a:r>
              <a:rPr lang="en-US" dirty="0"/>
              <a:t>. "Distributed coordination strategy for target-enclosing operations by particle swarms." WSEAS Trans. Syst. Control 10 (2015): 289-296.</a:t>
            </a:r>
          </a:p>
        </p:txBody>
      </p:sp>
    </p:spTree>
    <p:extLst>
      <p:ext uri="{BB962C8B-B14F-4D97-AF65-F5344CB8AC3E}">
        <p14:creationId xmlns:p14="http://schemas.microsoft.com/office/powerpoint/2010/main" val="104520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in matlab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027" y="1992572"/>
            <a:ext cx="5954973" cy="403973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2571"/>
            <a:ext cx="6237027" cy="4039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89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in RO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1985" y="1742883"/>
            <a:ext cx="1032216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Simulations were carried out in ROS using the </a:t>
            </a:r>
            <a:r>
              <a:rPr lang="en-IN" sz="2400" dirty="0" err="1"/>
              <a:t>turtlebot</a:t>
            </a:r>
            <a:r>
              <a:rPr lang="en-IN" sz="2400" dirty="0"/>
              <a:t> model robot in the gazebo simulator.</a:t>
            </a:r>
          </a:p>
          <a:p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Actuation limits are set to 1 unit/s for linear speed and 1 rad/s for angular speed.</a:t>
            </a:r>
          </a:p>
        </p:txBody>
      </p:sp>
    </p:spTree>
    <p:extLst>
      <p:ext uri="{BB962C8B-B14F-4D97-AF65-F5344CB8AC3E}">
        <p14:creationId xmlns:p14="http://schemas.microsoft.com/office/powerpoint/2010/main" val="310144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ut-2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30422" y="273416"/>
            <a:ext cx="9509125" cy="5730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1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77,1,Distributed  COORDINATION STRATEGY FOR TARGET ENCLOSURE BY Turtlebot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xkI1D7TVUegWOgZ9oG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JzBWOxEcxJRlFC1O4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ylZm3U6RJXLcWFSnXI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F7K401EuT5NDtMoPuP0Q"/>
</p:tagLst>
</file>

<file path=ppt/theme/theme1.xml><?xml version="1.0" encoding="utf-8"?>
<a:theme xmlns:a="http://schemas.openxmlformats.org/drawingml/2006/main" name="Red Line Business 16x9">
  <a:themeElements>
    <a:clrScheme name="RedLineBusiness_16x9">
      <a:dk1>
        <a:srgbClr val="514A40"/>
      </a:dk1>
      <a:lt1>
        <a:sysClr val="window" lastClr="FFFFFF"/>
      </a:lt1>
      <a:dk2>
        <a:srgbClr val="000000"/>
      </a:dk2>
      <a:lt2>
        <a:srgbClr val="F9F7F3"/>
      </a:lt2>
      <a:accent1>
        <a:srgbClr val="A85229"/>
      </a:accent1>
      <a:accent2>
        <a:srgbClr val="98916E"/>
      </a:accent2>
      <a:accent3>
        <a:srgbClr val="C9A645"/>
      </a:accent3>
      <a:accent4>
        <a:srgbClr val="76A7B2"/>
      </a:accent4>
      <a:accent5>
        <a:srgbClr val="82A670"/>
      </a:accent5>
      <a:accent6>
        <a:srgbClr val="896170"/>
      </a:accent6>
      <a:hlink>
        <a:srgbClr val="A85229"/>
      </a:hlink>
      <a:folHlink>
        <a:srgbClr val="98916E"/>
      </a:folHlink>
    </a:clrScheme>
    <a:fontScheme name="Cambria">
      <a:maj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15_4109default" id="{E728D685-11FC-4812-BA85-57AC6F9C9F40}" vid="{BC4E008B-95FF-4815-904E-143A8EDFC1D4}"/>
    </a:ext>
  </a:extLst>
</a:theme>
</file>

<file path=ppt/theme/theme2.xml><?xml version="1.0" encoding="utf-8"?>
<a:theme xmlns:a="http://schemas.openxmlformats.org/drawingml/2006/main" name="Office Theme">
  <a:themeElements>
    <a:clrScheme name="RedLineBusiness_16x9">
      <a:dk1>
        <a:srgbClr val="514A40"/>
      </a:dk1>
      <a:lt1>
        <a:sysClr val="window" lastClr="FFFFFF"/>
      </a:lt1>
      <a:dk2>
        <a:srgbClr val="000000"/>
      </a:dk2>
      <a:lt2>
        <a:srgbClr val="F9F7F3"/>
      </a:lt2>
      <a:accent1>
        <a:srgbClr val="A85229"/>
      </a:accent1>
      <a:accent2>
        <a:srgbClr val="98916E"/>
      </a:accent2>
      <a:accent3>
        <a:srgbClr val="C9A645"/>
      </a:accent3>
      <a:accent4>
        <a:srgbClr val="76A7B2"/>
      </a:accent4>
      <a:accent5>
        <a:srgbClr val="82A670"/>
      </a:accent5>
      <a:accent6>
        <a:srgbClr val="896170"/>
      </a:accent6>
      <a:hlink>
        <a:srgbClr val="A85229"/>
      </a:hlink>
      <a:folHlink>
        <a:srgbClr val="98916E"/>
      </a:folHlink>
    </a:clrScheme>
    <a:fontScheme name="Cambria">
      <a:maj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RedLineBusiness_16x9">
      <a:dk1>
        <a:srgbClr val="514A40"/>
      </a:dk1>
      <a:lt1>
        <a:sysClr val="window" lastClr="FFFFFF"/>
      </a:lt1>
      <a:dk2>
        <a:srgbClr val="000000"/>
      </a:dk2>
      <a:lt2>
        <a:srgbClr val="F9F7F3"/>
      </a:lt2>
      <a:accent1>
        <a:srgbClr val="A85229"/>
      </a:accent1>
      <a:accent2>
        <a:srgbClr val="98916E"/>
      </a:accent2>
      <a:accent3>
        <a:srgbClr val="C9A645"/>
      </a:accent3>
      <a:accent4>
        <a:srgbClr val="76A7B2"/>
      </a:accent4>
      <a:accent5>
        <a:srgbClr val="82A670"/>
      </a:accent5>
      <a:accent6>
        <a:srgbClr val="896170"/>
      </a:accent6>
      <a:hlink>
        <a:srgbClr val="A85229"/>
      </a:hlink>
      <a:folHlink>
        <a:srgbClr val="98916E"/>
      </a:folHlink>
    </a:clrScheme>
    <a:fontScheme name="Cambria">
      <a:maj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8F180B1C-2212-497F-A259-C959ADD048C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siness red line presentation (widescreen)</Template>
  <TotalTime>0</TotalTime>
  <Words>414</Words>
  <Application>Microsoft Office PowerPoint</Application>
  <PresentationFormat>Widescreen</PresentationFormat>
  <Paragraphs>54</Paragraphs>
  <Slides>10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Cambria</vt:lpstr>
      <vt:lpstr>Arial</vt:lpstr>
      <vt:lpstr>Red Line Business 16x9</vt:lpstr>
      <vt:lpstr>think-cell Slide</vt:lpstr>
      <vt:lpstr>Distributed  COORDINATION STRATEGY FOR TARGET ENCLOSURE BY Turtlebots</vt:lpstr>
      <vt:lpstr>Introduction</vt:lpstr>
      <vt:lpstr>Problem Statement</vt:lpstr>
      <vt:lpstr>COORDINATE FRAMES AND NOTATIONS</vt:lpstr>
      <vt:lpstr>FORMATION</vt:lpstr>
      <vt:lpstr>Control laws </vt:lpstr>
      <vt:lpstr>Simulation in matlab</vt:lpstr>
      <vt:lpstr>Simulation in ROS</vt:lpstr>
      <vt:lpstr>PowerPoint Presentation</vt:lpstr>
      <vt:lpstr>Future Wo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7-19T07:14:02Z</dcterms:created>
  <dcterms:modified xsi:type="dcterms:W3CDTF">2020-11-01T09:07:5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0310239991</vt:lpwstr>
  </property>
</Properties>
</file>